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60" r:id="rId2"/>
    <p:sldId id="262" r:id="rId3"/>
    <p:sldId id="265" r:id="rId4"/>
    <p:sldId id="295" r:id="rId5"/>
    <p:sldId id="296" r:id="rId6"/>
    <p:sldId id="297" r:id="rId7"/>
    <p:sldId id="298" r:id="rId8"/>
    <p:sldId id="299" r:id="rId9"/>
    <p:sldId id="300" r:id="rId10"/>
    <p:sldId id="301" r:id="rId11"/>
    <p:sldId id="304" r:id="rId12"/>
    <p:sldId id="303" r:id="rId13"/>
    <p:sldId id="305" r:id="rId1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1668" y="-23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0.06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798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6570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2799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0940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0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0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0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0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0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0.06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0.06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0.06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0.06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0.06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0.06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0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1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14.emf"/><Relationship Id="rId10" Type="http://schemas.openxmlformats.org/officeDocument/2006/relationships/image" Target="../media/image26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439738"/>
          </a:xfrm>
        </p:spPr>
        <p:txBody>
          <a:bodyPr>
            <a:noAutofit/>
          </a:bodyPr>
          <a:lstStyle/>
          <a:p>
            <a:r>
              <a:rPr lang="ru-RU" sz="3600" dirty="0" smtClean="0"/>
              <a:t>Паспорт проекта  </a:t>
            </a:r>
            <a:r>
              <a:rPr lang="ru-RU" sz="2400" dirty="0" smtClean="0"/>
              <a:t>«</a:t>
            </a:r>
            <a:r>
              <a:rPr lang="ru-RU" sz="2400" b="1" dirty="0" smtClean="0"/>
              <a:t>ПРОЦЕСС </a:t>
            </a:r>
            <a:r>
              <a:rPr lang="ru-RU" sz="2400" b="1" dirty="0"/>
              <a:t>ПОДГОТОВКИ ДЕТЕЙ СТАРШЕГО ДОШКОЛЬНОГО ВОЗРАСТА К ЗАНЯТИЯМ С ИСПОЛЬЗОВАНИЕМ ПЕСОЧНЫХ </a:t>
            </a:r>
            <a:r>
              <a:rPr lang="ru-RU" sz="2400" b="1" dirty="0" smtClean="0"/>
              <a:t>ЧАСОВ</a:t>
            </a:r>
            <a:r>
              <a:rPr lang="ru-RU" sz="2400" dirty="0" smtClean="0"/>
              <a:t>»</a:t>
            </a: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33363" y="1281113"/>
            <a:ext cx="8636000" cy="133508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17039" y="2735263"/>
            <a:ext cx="8636000" cy="201136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60350" y="1309688"/>
            <a:ext cx="1941513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47650" y="4746625"/>
            <a:ext cx="8621713" cy="113064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55588" y="2714625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255588" y="4760913"/>
            <a:ext cx="1320800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87029" y="1282700"/>
            <a:ext cx="5121275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Наименование органа местного  самоуправления: Управление образования г.Белгорода</a:t>
            </a:r>
          </a:p>
          <a:p>
            <a:pPr lvl="0"/>
            <a:r>
              <a:rPr lang="ru-RU" sz="1200" dirty="0" smtClean="0">
                <a:solidFill>
                  <a:srgbClr val="002060"/>
                </a:solidFill>
              </a:rPr>
              <a:t>Наименование отдела :</a:t>
            </a:r>
            <a:r>
              <a:rPr lang="ru-RU" sz="1400" dirty="0">
                <a:solidFill>
                  <a:srgbClr val="002060"/>
                </a:solidFill>
              </a:rPr>
              <a:t>МБДОУ д/с № </a:t>
            </a:r>
            <a:r>
              <a:rPr lang="ru-RU" sz="1400" dirty="0" smtClean="0">
                <a:solidFill>
                  <a:srgbClr val="002060"/>
                </a:solidFill>
              </a:rPr>
              <a:t>33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Границы процесса: от подготовки до выполнения проекта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Дата начала  проекта:</a:t>
            </a:r>
            <a:r>
              <a:rPr lang="ru-RU" sz="1400" dirty="0">
                <a:solidFill>
                  <a:srgbClr val="1F497D"/>
                </a:solidFill>
              </a:rPr>
              <a:t> 22.03.2021 г.</a:t>
            </a:r>
            <a:r>
              <a:rPr lang="ru-RU" sz="1400" dirty="0">
                <a:solidFill>
                  <a:srgbClr val="002060"/>
                </a:solidFill>
              </a:rPr>
              <a:t> </a:t>
            </a:r>
            <a:endParaRPr lang="ru-RU" sz="1200" dirty="0" smtClean="0">
              <a:solidFill>
                <a:srgbClr val="002060"/>
              </a:solidFill>
            </a:endParaRPr>
          </a:p>
          <a:p>
            <a:pPr lvl="0"/>
            <a:r>
              <a:rPr lang="ru-RU" sz="1200" dirty="0" smtClean="0">
                <a:solidFill>
                  <a:srgbClr val="002060"/>
                </a:solidFill>
              </a:rPr>
              <a:t>Дата окончания проекта:</a:t>
            </a:r>
            <a:r>
              <a:rPr lang="ru-RU" sz="1400" dirty="0">
                <a:solidFill>
                  <a:srgbClr val="1F497D"/>
                </a:solidFill>
              </a:rPr>
              <a:t> 19.04.2021 г.</a:t>
            </a:r>
          </a:p>
          <a:p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51520" y="5949280"/>
            <a:ext cx="8621713" cy="83929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260350" y="5999156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34030" y="5887787"/>
            <a:ext cx="8323263" cy="104644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                    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</a:rPr>
              <a:t>1. Для организации: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>
                <a:solidFill>
                  <a:srgbClr val="002060"/>
                </a:solidFill>
              </a:rPr>
              <a:t>Обеспечен алгоритм (визуализация) действий при подготовке к НОД</a:t>
            </a:r>
            <a:endParaRPr lang="ru-RU" sz="1600" dirty="0" smtClean="0">
              <a:solidFill>
                <a:srgbClr val="00206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2. Для населения: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>
                <a:solidFill>
                  <a:srgbClr val="002060"/>
                </a:solidFill>
              </a:rPr>
              <a:t>Наличие умения у детей при подготовке к НОД соотносить действия с временным отрезком</a:t>
            </a:r>
            <a:endParaRPr lang="ru-RU" sz="1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 dirty="0"/>
          </a:p>
        </p:txBody>
      </p:sp>
      <p:sp>
        <p:nvSpPr>
          <p:cNvPr id="21" name="TextBox 13"/>
          <p:cNvSpPr txBox="1">
            <a:spLocks noChangeArrowheads="1"/>
          </p:cNvSpPr>
          <p:nvPr/>
        </p:nvSpPr>
        <p:spPr bwMode="auto">
          <a:xfrm>
            <a:off x="459729" y="3263890"/>
            <a:ext cx="8397092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Отсутствие алгоритма действий при подготовке к НОД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Неэффективное распределение детьми времени при подготовке к НОД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Сокращение временных затрат, связанных с организацией при подготовке к НОД 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Избыточные действия детей при подготовке к НОД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97243" y="5157192"/>
            <a:ext cx="830824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                                                 Оптимизация процесса обучения дошкольников по подготовке к НОД с использованием песочных часов в ДОУ №33.</a:t>
            </a:r>
            <a:endParaRPr lang="ru-RU" sz="1400" b="1" dirty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609" y="864048"/>
            <a:ext cx="1630784" cy="2174378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811" y="1625758"/>
            <a:ext cx="1320589" cy="99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/>
          </p:cNvPr>
          <p:cNvSpPr/>
          <p:nvPr/>
        </p:nvSpPr>
        <p:spPr>
          <a:xfrm>
            <a:off x="244475" y="4012249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96863" y="1251826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>
            <a:extLst/>
          </p:cNvPr>
          <p:cNvSpPr txBox="1"/>
          <p:nvPr/>
        </p:nvSpPr>
        <p:spPr>
          <a:xfrm>
            <a:off x="296863" y="1249047"/>
            <a:ext cx="202247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5127960" y="1675704"/>
            <a:ext cx="2508275" cy="553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менение </a:t>
            </a:r>
            <a:r>
              <a:rPr lang="ru-RU" alt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щих простых правил и алгоритмов.</a:t>
            </a: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975697" y="1676159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862191" y="1395110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975695" y="4233566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6972569" y="4276407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186553" y="4584916"/>
            <a:ext cx="2330720" cy="1244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ие: </a:t>
            </a:r>
          </a:p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изуализации последовательности действий при организации  подготовке к НОД </a:t>
            </a:r>
            <a:endParaRPr lang="ru-RU" altLang="ru-RU" sz="1400" dirty="0">
              <a:solidFill>
                <a:prstClr val="black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6268568" y="4585868"/>
            <a:ext cx="2664295" cy="101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Применение </a:t>
            </a:r>
            <a:r>
              <a:rPr lang="ru-RU" altLang="ru-RU" sz="1400" dirty="0" smtClean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визуализации временного отрезка(песочных часов), помогающего </a:t>
            </a:r>
            <a:r>
              <a:rPr lang="ru-RU" altLang="ru-RU" sz="1400" dirty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детям подготовиться к </a:t>
            </a:r>
            <a:r>
              <a:rPr lang="ru-RU" altLang="ru-RU" sz="1400" dirty="0" smtClean="0">
                <a:solidFill>
                  <a:prstClr val="black"/>
                </a:solidFill>
                <a:latin typeface="Times New Roman" pitchFamily="18" charset="0"/>
                <a:ea typeface="Calibri" panose="020F0502020204030204" pitchFamily="34" charset="0"/>
                <a:cs typeface="Times New Roman" pitchFamily="18" charset="0"/>
              </a:rPr>
              <a:t>НОД. </a:t>
            </a:r>
            <a:endParaRPr lang="ru-RU" altLang="ru-RU" sz="1400" dirty="0">
              <a:solidFill>
                <a:prstClr val="black"/>
              </a:solidFill>
              <a:latin typeface="Times New Roman" pitchFamily="18" charset="0"/>
              <a:ea typeface="Calibri" panose="020F0502020204030204" pitchFamily="34" charset="0"/>
              <a:cs typeface="Times New Roman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122" y="4369580"/>
            <a:ext cx="2234085" cy="1675564"/>
          </a:xfrm>
          <a:prstGeom prst="rect">
            <a:avLst/>
          </a:prstGeom>
        </p:spPr>
      </p:pic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77518" y="1988186"/>
            <a:ext cx="2436172" cy="101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ие опыта  самостоятельной организации </a:t>
            </a:r>
            <a:r>
              <a:rPr lang="ru-RU" alt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еятельности при подготовке к НОД 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altLang="ru-RU" sz="14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543" y="4020977"/>
            <a:ext cx="1779579" cy="237277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280816" y="1574999"/>
            <a:ext cx="2607610" cy="195570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887" y="2320779"/>
            <a:ext cx="4289984" cy="1380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775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203848" y="2976563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45 </a:t>
            </a: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2089150" y="3444875"/>
            <a:ext cx="970682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107950" y="2636838"/>
            <a:ext cx="1981200" cy="1728787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altLang="ru-RU" sz="1400" b="1" dirty="0">
                <a:solidFill>
                  <a:srgbClr val="000000"/>
                </a:solidFill>
                <a:latin typeface="Franklin Gothic Medium" pitchFamily="34" charset="0"/>
              </a:rPr>
              <a:t>Подготовка педагогов и детей к проведению непосредственной образовательной деятельности </a:t>
            </a:r>
            <a:r>
              <a:rPr lang="ru-RU" altLang="ru-RU" sz="1400" b="1" dirty="0" smtClean="0">
                <a:solidFill>
                  <a:srgbClr val="000000"/>
                </a:solidFill>
                <a:latin typeface="Franklin Gothic Medium" pitchFamily="34" charset="0"/>
              </a:rPr>
              <a:t>в </a:t>
            </a:r>
            <a:r>
              <a:rPr lang="ru-RU" altLang="ru-RU" sz="1400" b="1" dirty="0">
                <a:solidFill>
                  <a:srgbClr val="000000"/>
                </a:solidFill>
                <a:latin typeface="Franklin Gothic Medium" pitchFamily="34" charset="0"/>
              </a:rPr>
              <a:t>группе детского сада</a:t>
            </a:r>
            <a:endParaRPr lang="ru-RU" sz="1400" b="1" dirty="0">
              <a:solidFill>
                <a:srgbClr val="464646"/>
              </a:solidFill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20830" y="308768"/>
            <a:ext cx="8727634" cy="766763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500" b="1" dirty="0">
                <a:solidFill>
                  <a:srgbClr val="4F81BD">
                    <a:lumMod val="50000"/>
                  </a:srgbClr>
                </a:solidFill>
              </a:rPr>
              <a:t>Достигнутые результаты </a:t>
            </a:r>
            <a:endParaRPr lang="ru-RU" sz="2500" b="1" dirty="0" smtClean="0">
              <a:solidFill>
                <a:srgbClr val="4F81BD">
                  <a:lumMod val="50000"/>
                </a:srgbClr>
              </a:solidFill>
            </a:endParaRPr>
          </a:p>
          <a:p>
            <a:pPr algn="ctr">
              <a:defRPr/>
            </a:pPr>
            <a:r>
              <a:rPr lang="ru-RU" sz="2500" b="1" dirty="0" smtClean="0">
                <a:solidFill>
                  <a:srgbClr val="4F81BD">
                    <a:lumMod val="50000"/>
                  </a:srgbClr>
                </a:solidFill>
              </a:rPr>
              <a:t>(</a:t>
            </a:r>
            <a:r>
              <a:rPr lang="ru-RU" sz="2500" b="1" dirty="0">
                <a:solidFill>
                  <a:srgbClr val="4F81BD">
                    <a:lumMod val="50000"/>
                  </a:srgbClr>
                </a:solidFill>
              </a:rPr>
              <a:t>было и стало)</a:t>
            </a:r>
            <a:r>
              <a:rPr lang="ru-RU" sz="2500" b="1" dirty="0">
                <a:solidFill>
                  <a:srgbClr val="006600"/>
                </a:solidFill>
              </a:rPr>
              <a:t> </a:t>
            </a:r>
            <a:endParaRPr lang="ru-RU" sz="3000" b="1" dirty="0">
              <a:solidFill>
                <a:srgbClr val="006600"/>
              </a:solidFill>
            </a:endParaRPr>
          </a:p>
        </p:txBody>
      </p:sp>
      <p:sp>
        <p:nvSpPr>
          <p:cNvPr id="46" name="Блок-схема: узел 45"/>
          <p:cNvSpPr/>
          <p:nvPr/>
        </p:nvSpPr>
        <p:spPr>
          <a:xfrm>
            <a:off x="7776878" y="3005551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10 </a:t>
            </a: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6951663" y="3470275"/>
            <a:ext cx="696912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562475" y="2636838"/>
            <a:ext cx="2389188" cy="1728787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altLang="ru-RU" sz="1600" b="1" dirty="0">
                <a:solidFill>
                  <a:srgbClr val="000000"/>
                </a:solidFill>
                <a:latin typeface="Franklin Gothic Medium" pitchFamily="34" charset="0"/>
              </a:rPr>
              <a:t>Подготовка педагогов и детей к проведению непосредственной образовательной деятельности </a:t>
            </a:r>
            <a:r>
              <a:rPr lang="ru-RU" altLang="ru-RU" sz="1600" b="1" dirty="0" smtClean="0">
                <a:solidFill>
                  <a:srgbClr val="000000"/>
                </a:solidFill>
                <a:latin typeface="Franklin Gothic Medium" pitchFamily="34" charset="0"/>
              </a:rPr>
              <a:t>в </a:t>
            </a:r>
            <a:r>
              <a:rPr lang="ru-RU" altLang="ru-RU" sz="1600" b="1" dirty="0">
                <a:solidFill>
                  <a:srgbClr val="000000"/>
                </a:solidFill>
                <a:latin typeface="Franklin Gothic Medium" pitchFamily="34" charset="0"/>
              </a:rPr>
              <a:t>группе детского сада</a:t>
            </a:r>
            <a:endParaRPr lang="ru-RU" sz="1600" b="1" dirty="0">
              <a:solidFill>
                <a:srgbClr val="464646"/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/>
            </a:extLst>
          </p:cNvPr>
          <p:cNvSpPr/>
          <p:nvPr/>
        </p:nvSpPr>
        <p:spPr>
          <a:xfrm>
            <a:off x="23813" y="1522413"/>
            <a:ext cx="9120187" cy="3275012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n>
                <a:solidFill>
                  <a:srgbClr val="1F497D">
                    <a:lumMod val="75000"/>
                  </a:srgbClr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23562" name="Номер слайда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599488" y="6448425"/>
            <a:ext cx="436562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400" smtClean="0">
                <a:solidFill>
                  <a:srgbClr val="898989"/>
                </a:solidFill>
              </a:rPr>
              <a:t>8</a:t>
            </a:r>
          </a:p>
        </p:txBody>
      </p:sp>
      <p:sp>
        <p:nvSpPr>
          <p:cNvPr id="23563" name="TextBox 23"/>
          <p:cNvSpPr txBox="1">
            <a:spLocks noChangeArrowheads="1"/>
          </p:cNvSpPr>
          <p:nvPr/>
        </p:nvSpPr>
        <p:spPr bwMode="auto">
          <a:xfrm>
            <a:off x="1422400" y="1916113"/>
            <a:ext cx="13208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sz="1600" b="1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23564" name="TextBox 52"/>
          <p:cNvSpPr txBox="1">
            <a:spLocks noChangeArrowheads="1"/>
          </p:cNvSpPr>
          <p:nvPr/>
        </p:nvSpPr>
        <p:spPr bwMode="auto">
          <a:xfrm>
            <a:off x="6372225" y="1916113"/>
            <a:ext cx="12763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sz="1600" b="1" dirty="0">
                <a:solidFill>
                  <a:srgbClr val="4F81BD">
                    <a:lumMod val="50000"/>
                  </a:srgbClr>
                </a:solidFill>
              </a:rPr>
              <a:t>СТАЛО</a:t>
            </a:r>
          </a:p>
        </p:txBody>
      </p:sp>
    </p:spTree>
    <p:extLst>
      <p:ext uri="{BB962C8B-B14F-4D97-AF65-F5344CB8AC3E}">
        <p14:creationId xmlns:p14="http://schemas.microsoft.com/office/powerpoint/2010/main" val="150310492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/>
          </p:cNvPr>
          <p:cNvSpPr/>
          <p:nvPr/>
        </p:nvSpPr>
        <p:spPr>
          <a:xfrm>
            <a:off x="403122" y="1336822"/>
            <a:ext cx="8620478" cy="503052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Достигнутые результаты</a:t>
            </a:r>
          </a:p>
        </p:txBody>
      </p:sp>
      <p:sp>
        <p:nvSpPr>
          <p:cNvPr id="14" name="TextBox 13">
            <a:extLst/>
          </p:cNvPr>
          <p:cNvSpPr txBox="1"/>
          <p:nvPr/>
        </p:nvSpPr>
        <p:spPr>
          <a:xfrm>
            <a:off x="403121" y="1412776"/>
            <a:ext cx="202247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2</a:t>
            </a:fld>
            <a:endParaRPr lang="ru-RU" sz="1400"/>
          </a:p>
        </p:txBody>
      </p:sp>
      <p:pic>
        <p:nvPicPr>
          <p:cNvPr id="99335" name="Picture 7" descr="https://im0-tub-ru.yandex.net/i?id=f37910d7c9fc4a5c5b8391f88c34ac78-l&amp;n=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236" y="1676750"/>
            <a:ext cx="1538111" cy="1967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121" y="2938347"/>
            <a:ext cx="2571750" cy="3429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871" y="3852084"/>
            <a:ext cx="3323861" cy="249289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8732" y="2746269"/>
            <a:ext cx="2724868" cy="363315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84" y="1388160"/>
            <a:ext cx="1815666" cy="242088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1270" y="1336822"/>
            <a:ext cx="2699792" cy="2024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357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Заголовок 1"/>
          <p:cNvSpPr>
            <a:spLocks noGrp="1"/>
          </p:cNvSpPr>
          <p:nvPr>
            <p:ph type="title"/>
          </p:nvPr>
        </p:nvSpPr>
        <p:spPr>
          <a:xfrm>
            <a:off x="107950" y="188913"/>
            <a:ext cx="8928100" cy="647700"/>
          </a:xfrm>
        </p:spPr>
        <p:txBody>
          <a:bodyPr/>
          <a:lstStyle/>
          <a:p>
            <a:pPr eaLnBrk="1" hangingPunct="1"/>
            <a:r>
              <a:rPr lang="ru-RU" altLang="ru-RU" sz="3200" b="1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</a:t>
            </a:r>
            <a:endParaRPr lang="ru-RU" altLang="ru-RU" sz="3200" b="1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580" name="TextBox 5"/>
          <p:cNvSpPr txBox="1">
            <a:spLocks noChangeArrowheads="1"/>
          </p:cNvSpPr>
          <p:nvPr/>
        </p:nvSpPr>
        <p:spPr bwMode="auto">
          <a:xfrm>
            <a:off x="4066632" y="1539769"/>
            <a:ext cx="4729564" cy="200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80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endParaRPr lang="ru-RU" altLang="ru-RU" sz="80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endParaRPr lang="ru-RU" altLang="ru-RU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altLang="ru-RU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 алгоритм (визуализация) действий при подготовке к НОД</a:t>
            </a:r>
            <a:r>
              <a:rPr lang="ru-RU" altLang="ru-RU" b="1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ctr"/>
            <a:r>
              <a:rPr lang="ru-RU" altLang="ru-RU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и при организации подготовке к НОД.</a:t>
            </a:r>
          </a:p>
          <a:p>
            <a:pPr algn="ctr"/>
            <a:endParaRPr lang="ru-RU" altLang="ru-RU" b="1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0825" y="908720"/>
            <a:ext cx="864235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3779912" y="959519"/>
            <a:ext cx="0" cy="4176712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106770" y="1666643"/>
            <a:ext cx="649287" cy="431800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Стрелка вниз 18"/>
          <p:cNvSpPr/>
          <p:nvPr/>
        </p:nvSpPr>
        <p:spPr>
          <a:xfrm>
            <a:off x="6233568" y="3455651"/>
            <a:ext cx="649287" cy="431800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4162815" y="3943193"/>
            <a:ext cx="453719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одготовки сокращено </a:t>
            </a:r>
            <a:endParaRPr lang="ru-RU" b="1" i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45 </a:t>
            </a:r>
            <a:r>
              <a:rPr lang="ru-RU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ут </a:t>
            </a:r>
            <a:r>
              <a:rPr lang="ru-RU" b="1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10 </a:t>
            </a:r>
            <a:r>
              <a:rPr lang="ru-RU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ут </a:t>
            </a:r>
          </a:p>
        </p:txBody>
      </p:sp>
      <p:sp>
        <p:nvSpPr>
          <p:cNvPr id="20" name="Содержимое 4"/>
          <p:cNvSpPr>
            <a:spLocks noGrp="1"/>
          </p:cNvSpPr>
          <p:nvPr>
            <p:ph idx="4294967295"/>
          </p:nvPr>
        </p:nvSpPr>
        <p:spPr>
          <a:xfrm>
            <a:off x="332797" y="965982"/>
            <a:ext cx="3312114" cy="369332"/>
          </a:xfrm>
        </p:spPr>
        <p:txBody>
          <a:bodyPr wrap="square"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:</a:t>
            </a:r>
            <a:r>
              <a:rPr lang="en-US" alt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altLang="ru-RU" sz="18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 rot="5400000">
            <a:off x="1165197" y="2458584"/>
            <a:ext cx="2001838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6"/>
          <p:cNvSpPr txBox="1">
            <a:spLocks noChangeArrowheads="1"/>
          </p:cNvSpPr>
          <p:nvPr/>
        </p:nvSpPr>
        <p:spPr bwMode="auto">
          <a:xfrm>
            <a:off x="250825" y="1785991"/>
            <a:ext cx="167863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r>
              <a:rPr lang="ru-RU" sz="20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lnSpc>
                <a:spcPct val="150000"/>
              </a:lnSpc>
            </a:pP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5 минут</a:t>
            </a:r>
            <a:endParaRPr lang="ru-RU"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400" dirty="0">
                <a:solidFill>
                  <a:srgbClr val="9BBB5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3" name="TextBox 6"/>
          <p:cNvSpPr txBox="1">
            <a:spLocks noChangeArrowheads="1"/>
          </p:cNvSpPr>
          <p:nvPr/>
        </p:nvSpPr>
        <p:spPr bwMode="auto">
          <a:xfrm>
            <a:off x="2173274" y="1753029"/>
            <a:ext cx="1409353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r>
              <a:rPr lang="ru-RU" sz="20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sz="20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ут</a:t>
            </a:r>
          </a:p>
          <a:p>
            <a:pPr algn="ctr"/>
            <a:r>
              <a:rPr lang="ru-RU" sz="1400" dirty="0">
                <a:solidFill>
                  <a:srgbClr val="9BBB5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4" name="Прямоугольник 23"/>
          <p:cNvSpPr>
            <a:spLocks noChangeArrowheads="1"/>
          </p:cNvSpPr>
          <p:nvPr/>
        </p:nvSpPr>
        <p:spPr bwMode="auto">
          <a:xfrm>
            <a:off x="840937" y="3943193"/>
            <a:ext cx="2647181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Я ВРЕМЕНИ:  </a:t>
            </a:r>
            <a:endParaRPr lang="ru-RU" altLang="ru-RU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alt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alt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минут -</a:t>
            </a:r>
            <a:endParaRPr lang="ru-RU" alt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alt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4 </a:t>
            </a:r>
            <a:r>
              <a:rPr lang="ru-RU" alt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797490" y="1089920"/>
            <a:ext cx="12678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ru-RU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</a:t>
            </a:r>
            <a:r>
              <a:rPr lang="ru-RU" altLang="ru-RU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566977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233363" y="3600450"/>
            <a:ext cx="8621712" cy="24638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41300" y="1273175"/>
            <a:ext cx="8637588" cy="2136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317500" y="130651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15913" y="3630613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101800" y="3074988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Афтенюк Н.Н.</a:t>
            </a:r>
          </a:p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заведующий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1885950" y="1381125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3938190" y="3076575"/>
            <a:ext cx="178593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Матюхина И.Н. </a:t>
            </a:r>
            <a:r>
              <a:rPr lang="ru-RU" altLang="ru-RU" sz="1000" b="1" kern="0" dirty="0" err="1" smtClean="0">
                <a:solidFill>
                  <a:srgbClr val="00295C"/>
                </a:solidFill>
              </a:rPr>
              <a:t>ст.воспитатель</a:t>
            </a:r>
            <a:endParaRPr lang="ru-RU" altLang="ru-RU" sz="1000" b="1" kern="0" dirty="0" smtClean="0">
              <a:solidFill>
                <a:srgbClr val="00295C"/>
              </a:solidFill>
            </a:endParaRP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3178175" y="1403350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01800" y="158591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862388" y="1567656"/>
            <a:ext cx="1285676" cy="14708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3613968" y="5579368"/>
            <a:ext cx="1462088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Роман Т.П.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613968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5198144" y="5579368"/>
            <a:ext cx="1462088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Тимофеева Н.Т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198144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</a:t>
            </a:fld>
            <a:endParaRPr lang="ru-RU" sz="1400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1800" y="1577847"/>
            <a:ext cx="1070606" cy="14708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2388" y="1577847"/>
            <a:ext cx="1285676" cy="146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8951" y="4090293"/>
            <a:ext cx="1121392" cy="1461036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8144" y="4056252"/>
            <a:ext cx="1076375" cy="1477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588963"/>
          </a:xfrm>
        </p:spPr>
        <p:txBody>
          <a:bodyPr rtlCol="0">
            <a:noAutofit/>
          </a:bodyPr>
          <a:lstStyle/>
          <a:p>
            <a:pPr lvl="0">
              <a:spcBef>
                <a:spcPts val="0"/>
              </a:spcBef>
              <a:defRPr/>
            </a:pPr>
            <a: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текущего состояния процесса </a:t>
            </a:r>
            <a:r>
              <a:rPr lang="ru-RU" altLang="ru-RU" sz="2400" dirty="0" smtClean="0">
                <a:solidFill>
                  <a:prstClr val="black"/>
                </a:solidFill>
                <a:ea typeface="+mn-ea"/>
                <a:cs typeface="+mn-cs"/>
              </a:rPr>
              <a:t>«</a:t>
            </a:r>
            <a:r>
              <a:rPr lang="ru-RU" altLang="ru-RU" sz="2400" dirty="0">
                <a:solidFill>
                  <a:prstClr val="black"/>
                </a:solidFill>
                <a:ea typeface="+mn-ea"/>
                <a:cs typeface="+mn-cs"/>
              </a:rPr>
              <a:t>ПРОЦЕСС ПОДГОТОВКИ ДЕТЕЙ СТАРШЕГО </a:t>
            </a:r>
            <a:r>
              <a:rPr lang="ru-RU" altLang="ru-RU" sz="2400" dirty="0" smtClean="0">
                <a:solidFill>
                  <a:prstClr val="black"/>
                </a:solidFill>
                <a:ea typeface="+mn-ea"/>
                <a:cs typeface="+mn-cs"/>
              </a:rPr>
              <a:t>ДОШКОЛЬНОГО </a:t>
            </a:r>
            <a:r>
              <a:rPr lang="ru-RU" altLang="ru-RU" sz="2400" dirty="0">
                <a:solidFill>
                  <a:prstClr val="black"/>
                </a:solidFill>
                <a:ea typeface="+mn-ea"/>
                <a:cs typeface="+mn-cs"/>
              </a:rPr>
              <a:t>ВОЗРАСТА К ЗАНЯТИЯМ С ИСПОЛЬЗОВАНИЕМ ПЕСОЧНЫХ ЧАСОВ</a:t>
            </a:r>
            <a:r>
              <a:rPr lang="ru-RU" altLang="ru-RU" sz="2400" dirty="0" smtClean="0">
                <a:solidFill>
                  <a:prstClr val="black"/>
                </a:solidFill>
                <a:ea typeface="+mn-ea"/>
                <a:cs typeface="+mn-cs"/>
              </a:rPr>
              <a:t>»</a:t>
            </a:r>
            <a:endParaRPr lang="ru-RU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3</a:t>
            </a:fld>
            <a:endParaRPr lang="ru-RU" sz="1400"/>
          </a:p>
        </p:txBody>
      </p:sp>
      <p:sp>
        <p:nvSpPr>
          <p:cNvPr id="8" name="Прямоугольник 7"/>
          <p:cNvSpPr/>
          <p:nvPr/>
        </p:nvSpPr>
        <p:spPr>
          <a:xfrm>
            <a:off x="197552" y="3132900"/>
            <a:ext cx="562378" cy="3825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 smtClean="0"/>
              <a:t>ШАГ </a:t>
            </a:r>
            <a:r>
              <a:rPr lang="ru-RU" sz="900" b="1" dirty="0"/>
              <a:t>1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5796564"/>
              </p:ext>
            </p:extLst>
          </p:nvPr>
        </p:nvGraphicFramePr>
        <p:xfrm>
          <a:off x="197552" y="3548597"/>
          <a:ext cx="2617101" cy="177123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6171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21308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 dirty="0" smtClean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  <a:endParaRPr lang="ru-RU" sz="14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6031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ыявление начального уровня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знания временного отрезка у детей при подготовке к НОД.</a:t>
                      </a:r>
                      <a:endParaRPr lang="ru-RU" sz="12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961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мин. –  15 мин.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0" name="Пятно 1 60"/>
          <p:cNvSpPr/>
          <p:nvPr/>
        </p:nvSpPr>
        <p:spPr>
          <a:xfrm>
            <a:off x="968219" y="3071782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4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1" name="Пятно 1 60"/>
          <p:cNvSpPr/>
          <p:nvPr/>
        </p:nvSpPr>
        <p:spPr>
          <a:xfrm>
            <a:off x="2529730" y="319227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400" b="1" dirty="0" smtClean="0">
                <a:solidFill>
                  <a:schemeClr val="bg1"/>
                </a:solidFill>
                <a:cs typeface="Arial" pitchFamily="34" charset="0"/>
              </a:rPr>
              <a:t>2</a:t>
            </a:r>
            <a:endParaRPr lang="ru-RU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3016829" y="4203182"/>
            <a:ext cx="388046" cy="12858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3563888" y="3159888"/>
            <a:ext cx="552450" cy="4206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2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021204"/>
              </p:ext>
            </p:extLst>
          </p:nvPr>
        </p:nvGraphicFramePr>
        <p:xfrm>
          <a:off x="3563888" y="3580576"/>
          <a:ext cx="2019539" cy="208799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0195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7632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b="1" dirty="0" smtClean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нники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79839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учение соотнесению действий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с временным отрезком.</a:t>
                      </a:r>
                      <a:endParaRPr lang="ru-RU" sz="12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183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мин. –  15 мин.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5" name="Пятно 1 60"/>
          <p:cNvSpPr/>
          <p:nvPr/>
        </p:nvSpPr>
        <p:spPr>
          <a:xfrm>
            <a:off x="4496432" y="3197750"/>
            <a:ext cx="444753" cy="378857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6" name="Пятно 1 60"/>
          <p:cNvSpPr/>
          <p:nvPr/>
        </p:nvSpPr>
        <p:spPr>
          <a:xfrm>
            <a:off x="5448742" y="3048396"/>
            <a:ext cx="559202" cy="50729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4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5675160" y="4331770"/>
            <a:ext cx="553024" cy="1773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6300192" y="3349316"/>
            <a:ext cx="565150" cy="412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3</a:t>
            </a: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0967944"/>
              </p:ext>
            </p:extLst>
          </p:nvPr>
        </p:nvGraphicFramePr>
        <p:xfrm>
          <a:off x="6300192" y="3861048"/>
          <a:ext cx="1797717" cy="199592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977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1631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b="1" dirty="0" smtClean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нники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763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ыявление текущего уровня знания временного отрезка у детей при подготовке к НОД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03252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 мин. –  15 мин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4" name="Скругленная прямоугольная выноска 3"/>
          <p:cNvSpPr/>
          <p:nvPr/>
        </p:nvSpPr>
        <p:spPr>
          <a:xfrm>
            <a:off x="563250" y="1517812"/>
            <a:ext cx="1853372" cy="1444168"/>
          </a:xfrm>
          <a:prstGeom prst="wedgeRoundRect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>
              <a:defRPr/>
            </a:pPr>
            <a:r>
              <a:rPr lang="ru-RU" alt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Отсутствие пособий, способствующих обучению детей последовательности действий при подготовке к НОД.</a:t>
            </a:r>
          </a:p>
        </p:txBody>
      </p:sp>
      <p:sp>
        <p:nvSpPr>
          <p:cNvPr id="21" name="Скругленная прямоугольная выноска 20"/>
          <p:cNvSpPr/>
          <p:nvPr/>
        </p:nvSpPr>
        <p:spPr>
          <a:xfrm>
            <a:off x="2424496" y="1582481"/>
            <a:ext cx="1960759" cy="1499074"/>
          </a:xfrm>
          <a:prstGeom prst="wedgeRoundRect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>
              <a:defRPr/>
            </a:pPr>
            <a:r>
              <a:rPr lang="ru-RU" alt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Снижение творческой активности педагогических работников в ходе обучения организации дежурства при подготовке к НОД.</a:t>
            </a:r>
          </a:p>
        </p:txBody>
      </p:sp>
      <p:sp>
        <p:nvSpPr>
          <p:cNvPr id="22" name="Скругленная прямоугольная выноска 21"/>
          <p:cNvSpPr/>
          <p:nvPr/>
        </p:nvSpPr>
        <p:spPr>
          <a:xfrm>
            <a:off x="4429280" y="1661690"/>
            <a:ext cx="1293552" cy="1300290"/>
          </a:xfrm>
          <a:prstGeom prst="wedgeRoundRect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alt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Не понимание детьми понятия временной отрезок.</a:t>
            </a:r>
          </a:p>
        </p:txBody>
      </p:sp>
      <p:sp>
        <p:nvSpPr>
          <p:cNvPr id="23" name="Скругленная прямоугольная выноска 22"/>
          <p:cNvSpPr/>
          <p:nvPr/>
        </p:nvSpPr>
        <p:spPr>
          <a:xfrm>
            <a:off x="5411318" y="1725929"/>
            <a:ext cx="1232567" cy="1171811"/>
          </a:xfrm>
          <a:prstGeom prst="wedgeRoundRect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alt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Нежелание детей соблюдать временной отрезок.</a:t>
            </a:r>
          </a:p>
        </p:txBody>
      </p:sp>
      <p:sp>
        <p:nvSpPr>
          <p:cNvPr id="24" name="Пятно 1 60"/>
          <p:cNvSpPr/>
          <p:nvPr/>
        </p:nvSpPr>
        <p:spPr>
          <a:xfrm>
            <a:off x="7476920" y="3387178"/>
            <a:ext cx="413019" cy="363127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5" name="Скругленная прямоугольная выноска 24"/>
          <p:cNvSpPr/>
          <p:nvPr/>
        </p:nvSpPr>
        <p:spPr>
          <a:xfrm>
            <a:off x="7273655" y="2025939"/>
            <a:ext cx="1232567" cy="1171811"/>
          </a:xfrm>
          <a:prstGeom prst="wedgeRoundRect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>
              <a:defRPr/>
            </a:pPr>
            <a:r>
              <a:rPr lang="ru-RU" alt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Хаотичные действия детей в процессе дежурства.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9722" y="4509120"/>
            <a:ext cx="731837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0485" y="4594051"/>
            <a:ext cx="249237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36380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4213" y="1125538"/>
            <a:ext cx="3167062" cy="358775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 smtClean="0"/>
              <a:t>Пирамида проблем</a:t>
            </a:r>
            <a:endParaRPr lang="ru-RU" sz="2400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95288" y="115888"/>
            <a:ext cx="8686800" cy="865187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3000" b="1" dirty="0" smtClean="0">
                <a:solidFill>
                  <a:srgbClr val="464646"/>
                </a:solidFill>
              </a:rPr>
              <a:t>Введение в предметную область</a:t>
            </a:r>
            <a:br>
              <a:rPr lang="ru-RU" sz="3000" b="1" dirty="0" smtClean="0">
                <a:solidFill>
                  <a:srgbClr val="464646"/>
                </a:solidFill>
              </a:rPr>
            </a:br>
            <a:r>
              <a:rPr lang="ru-RU" sz="3000" b="1" dirty="0" smtClean="0">
                <a:solidFill>
                  <a:srgbClr val="464646"/>
                </a:solidFill>
              </a:rPr>
              <a:t>(описание ситуации «как есть»)</a:t>
            </a:r>
            <a:endParaRPr lang="ru-RU" sz="3000" b="1" dirty="0">
              <a:solidFill>
                <a:srgbClr val="464646"/>
              </a:solidFill>
            </a:endParaRPr>
          </a:p>
        </p:txBody>
      </p:sp>
      <p:sp>
        <p:nvSpPr>
          <p:cNvPr id="11" name="Пятно 1 88">
            <a:extLst/>
          </p:cNvPr>
          <p:cNvSpPr/>
          <p:nvPr/>
        </p:nvSpPr>
        <p:spPr>
          <a:xfrm>
            <a:off x="4474529" y="4029483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4973638" y="1125538"/>
            <a:ext cx="3168650" cy="35877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400" dirty="0" smtClean="0">
                <a:solidFill>
                  <a:srgbClr val="464646"/>
                </a:solidFill>
              </a:rPr>
              <a:t>Перечень проблем:</a:t>
            </a:r>
            <a:endParaRPr lang="ru-RU" sz="2400" dirty="0">
              <a:solidFill>
                <a:srgbClr val="464646"/>
              </a:solidFill>
            </a:endParaRPr>
          </a:p>
        </p:txBody>
      </p:sp>
      <p:sp>
        <p:nvSpPr>
          <p:cNvPr id="15" name="Пятно 1 88">
            <a:extLst/>
          </p:cNvPr>
          <p:cNvSpPr/>
          <p:nvPr/>
        </p:nvSpPr>
        <p:spPr>
          <a:xfrm>
            <a:off x="4518086" y="4494698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16" name="Пятно 1 88">
            <a:extLst/>
          </p:cNvPr>
          <p:cNvSpPr/>
          <p:nvPr/>
        </p:nvSpPr>
        <p:spPr>
          <a:xfrm>
            <a:off x="4441624" y="5071053"/>
            <a:ext cx="56451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24" name="Пятно 1 88">
            <a:extLst/>
          </p:cNvPr>
          <p:cNvSpPr/>
          <p:nvPr/>
        </p:nvSpPr>
        <p:spPr>
          <a:xfrm>
            <a:off x="4476778" y="3364492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20125" y="6572250"/>
            <a:ext cx="531813" cy="285750"/>
          </a:xfrm>
        </p:spPr>
        <p:txBody>
          <a:bodyPr/>
          <a:lstStyle/>
          <a:p>
            <a:pPr algn="ctr">
              <a:defRPr/>
            </a:pPr>
            <a:fld id="{665F7093-1B63-4552-81E3-3AEB9A14D1DF}" type="slidenum">
              <a:rPr lang="ru-RU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21" name="Пятно 1 88">
            <a:extLst/>
          </p:cNvPr>
          <p:cNvSpPr/>
          <p:nvPr/>
        </p:nvSpPr>
        <p:spPr>
          <a:xfrm>
            <a:off x="4508133" y="2675059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32" name="Пятно 1 88">
            <a:extLst/>
          </p:cNvPr>
          <p:cNvSpPr/>
          <p:nvPr/>
        </p:nvSpPr>
        <p:spPr>
          <a:xfrm>
            <a:off x="3347864" y="6068154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5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1750941"/>
              </p:ext>
            </p:extLst>
          </p:nvPr>
        </p:nvGraphicFramePr>
        <p:xfrm>
          <a:off x="4968387" y="2548116"/>
          <a:ext cx="3718730" cy="294319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718730">
                  <a:extLst>
                    <a:ext uri="{9D8B030D-6E8A-4147-A177-3AD203B41FA5}">
                      <a16:colId xmlns:a16="http://schemas.microsoft.com/office/drawing/2014/main" xmlns="" val="4043508023"/>
                    </a:ext>
                  </a:extLst>
                </a:gridCol>
              </a:tblGrid>
              <a:tr h="728318">
                <a:tc>
                  <a:txBody>
                    <a:bodyPr/>
                    <a:lstStyle/>
                    <a:p>
                      <a:pPr marL="2286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alt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Отсутствиепособий,</a:t>
                      </a: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пособствующих обучению детей последовательности действий при подготовке к НОД.</a:t>
                      </a: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3329556916"/>
                  </a:ext>
                </a:extLst>
              </a:tr>
              <a:tr h="654208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Снижение творческой активности педагогических работников в ходе обучения организации дежурства при подготовке к НОД.</a:t>
                      </a: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280804273"/>
                  </a:ext>
                </a:extLst>
              </a:tr>
              <a:tr h="520222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Не понимание детьми понятия временной отрезок.</a:t>
                      </a: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3311309705"/>
                  </a:ext>
                </a:extLst>
              </a:tr>
              <a:tr h="52022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Нежелание детей соблюдать временной отрезок.</a:t>
                      </a: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1958790846"/>
                  </a:ext>
                </a:extLst>
              </a:tr>
              <a:tr h="520222">
                <a:tc>
                  <a:txBody>
                    <a:bodyPr/>
                    <a:lstStyle/>
                    <a:p>
                      <a:pPr marL="0" indent="0" algn="just">
                        <a:buFont typeface="+mj-lt"/>
                        <a:buNone/>
                      </a:pP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 Хаотичные действия детей в процессе дежурства.</a:t>
                      </a: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4219704402"/>
                  </a:ext>
                </a:extLst>
              </a:tr>
            </a:tbl>
          </a:graphicData>
        </a:graphic>
      </p:graphicFrame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737" y="1495055"/>
            <a:ext cx="3925887" cy="529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Пятно 1 88">
            <a:extLst/>
          </p:cNvPr>
          <p:cNvSpPr/>
          <p:nvPr/>
        </p:nvSpPr>
        <p:spPr>
          <a:xfrm>
            <a:off x="3345741" y="6165304"/>
            <a:ext cx="56451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22" name="Пятно 1 88">
            <a:extLst/>
          </p:cNvPr>
          <p:cNvSpPr/>
          <p:nvPr/>
        </p:nvSpPr>
        <p:spPr>
          <a:xfrm>
            <a:off x="2823844" y="6181025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25" name="Пятно 1 88">
            <a:extLst/>
          </p:cNvPr>
          <p:cNvSpPr/>
          <p:nvPr/>
        </p:nvSpPr>
        <p:spPr>
          <a:xfrm>
            <a:off x="2362891" y="6186663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26" name="Пятно 1 88">
            <a:extLst/>
          </p:cNvPr>
          <p:cNvSpPr/>
          <p:nvPr/>
        </p:nvSpPr>
        <p:spPr>
          <a:xfrm>
            <a:off x="1798568" y="6238095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27" name="Пятно 1 88">
            <a:extLst/>
          </p:cNvPr>
          <p:cNvSpPr/>
          <p:nvPr/>
        </p:nvSpPr>
        <p:spPr>
          <a:xfrm>
            <a:off x="1259632" y="6238095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7724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62988" y="6570606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5</a:t>
            </a:fld>
            <a:endParaRPr lang="ru-RU" altLang="ru-RU" b="1" dirty="0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7029302" y="797617"/>
            <a:ext cx="1811931" cy="427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200" b="1" dirty="0" smtClean="0">
                <a:solidFill>
                  <a:srgbClr val="1F497D"/>
                </a:solidFill>
              </a:rPr>
              <a:t>Вклад в достижение цели, мин.</a:t>
            </a:r>
            <a:endParaRPr lang="ru-RU" altLang="ru-RU" sz="1200" b="1" dirty="0">
              <a:solidFill>
                <a:srgbClr val="1F497D"/>
              </a:solidFill>
            </a:endParaRP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5170481" y="797617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>
                <a:solidFill>
                  <a:srgbClr val="1F497D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4526" y="1708704"/>
            <a:ext cx="2110011" cy="279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808676" y="1812016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rgbClr val="1F497D"/>
                </a:solidFill>
              </a:rPr>
              <a:t>3-5</a:t>
            </a:r>
            <a:endParaRPr lang="ru-RU" altLang="ru-RU" sz="1400" b="1" dirty="0">
              <a:solidFill>
                <a:srgbClr val="1F497D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76249" y="1283662"/>
            <a:ext cx="8788870" cy="144617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9" name="Стрелка: вправо 3"/>
          <p:cNvSpPr/>
          <p:nvPr/>
        </p:nvSpPr>
        <p:spPr>
          <a:xfrm>
            <a:off x="2488516" y="181201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0" name="Стрелка: вправо 3"/>
          <p:cNvSpPr/>
          <p:nvPr/>
        </p:nvSpPr>
        <p:spPr>
          <a:xfrm>
            <a:off x="7364771" y="184829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222125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>
                <a:solidFill>
                  <a:srgbClr val="1F497D"/>
                </a:solidFill>
              </a:rPr>
              <a:t>Проблема</a:t>
            </a:r>
          </a:p>
        </p:txBody>
      </p:sp>
      <p:sp>
        <p:nvSpPr>
          <p:cNvPr id="31" name="TextBox 41"/>
          <p:cNvSpPr txBox="1">
            <a:spLocks noChangeArrowheads="1"/>
          </p:cNvSpPr>
          <p:nvPr/>
        </p:nvSpPr>
        <p:spPr bwMode="auto">
          <a:xfrm>
            <a:off x="5271307" y="1519506"/>
            <a:ext cx="2073388" cy="74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бор средств, обогащающие РППС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Стрелка: вправо 3"/>
          <p:cNvSpPr/>
          <p:nvPr/>
        </p:nvSpPr>
        <p:spPr>
          <a:xfrm>
            <a:off x="4954947" y="1812016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2720498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 smtClean="0">
                <a:solidFill>
                  <a:srgbClr val="1F497D"/>
                </a:solidFill>
              </a:rPr>
              <a:t>Первопричина</a:t>
            </a:r>
            <a:endParaRPr lang="ru-RU" altLang="ru-RU" sz="1400" b="1" dirty="0">
              <a:solidFill>
                <a:srgbClr val="1F497D"/>
              </a:solidFill>
            </a:endParaRP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201613" y="188640"/>
            <a:ext cx="8686800" cy="4210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3000" b="1" dirty="0" smtClean="0">
                <a:solidFill>
                  <a:srgbClr val="002060"/>
                </a:solidFill>
              </a:rPr>
              <a:t>Анализ проблем «5 почему?»</a:t>
            </a:r>
            <a:endParaRPr lang="ru-RU" sz="3000" b="1" dirty="0">
              <a:solidFill>
                <a:srgbClr val="002060"/>
              </a:solidFill>
            </a:endParaRPr>
          </a:p>
        </p:txBody>
      </p:sp>
      <p:sp>
        <p:nvSpPr>
          <p:cNvPr id="36" name="TextBox 41"/>
          <p:cNvSpPr txBox="1">
            <a:spLocks noChangeArrowheads="1"/>
          </p:cNvSpPr>
          <p:nvPr/>
        </p:nvSpPr>
        <p:spPr bwMode="auto">
          <a:xfrm>
            <a:off x="248780" y="2962505"/>
            <a:ext cx="2024730" cy="1171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ие  творческой активности педагогов, в ходе организации дежурства по подготовке к НОД</a:t>
            </a: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99691" y="2931867"/>
            <a:ext cx="8779104" cy="14789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3" name="Стрелка: вправо 3"/>
          <p:cNvSpPr/>
          <p:nvPr/>
        </p:nvSpPr>
        <p:spPr>
          <a:xfrm>
            <a:off x="2454093" y="336841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" name="Стрелка: вправо 3"/>
          <p:cNvSpPr/>
          <p:nvPr/>
        </p:nvSpPr>
        <p:spPr>
          <a:xfrm>
            <a:off x="7352434" y="337021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9" name="Стрелка: вправо 3"/>
          <p:cNvSpPr/>
          <p:nvPr/>
        </p:nvSpPr>
        <p:spPr>
          <a:xfrm>
            <a:off x="4937093" y="3351988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1" name="TextBox 41"/>
          <p:cNvSpPr txBox="1">
            <a:spLocks noChangeArrowheads="1"/>
          </p:cNvSpPr>
          <p:nvPr/>
        </p:nvSpPr>
        <p:spPr bwMode="auto">
          <a:xfrm>
            <a:off x="124917" y="4935020"/>
            <a:ext cx="2202942" cy="95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желание педагогов уделять достаточное время к подготовке к НОД</a:t>
            </a:r>
            <a:endParaRPr lang="ru-RU" altLang="ru-RU" sz="1200" b="1" dirty="0">
              <a:solidFill>
                <a:srgbClr val="000000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99691" y="4637504"/>
            <a:ext cx="8765428" cy="190012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7" name="Стрелка: вправо 3"/>
          <p:cNvSpPr/>
          <p:nvPr/>
        </p:nvSpPr>
        <p:spPr>
          <a:xfrm>
            <a:off x="2353751" y="512936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1" name="Стрелка: вправо 3"/>
          <p:cNvSpPr/>
          <p:nvPr/>
        </p:nvSpPr>
        <p:spPr>
          <a:xfrm>
            <a:off x="4867634" y="530442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8" name="TextBox 41"/>
          <p:cNvSpPr txBox="1">
            <a:spLocks noChangeArrowheads="1"/>
          </p:cNvSpPr>
          <p:nvPr/>
        </p:nvSpPr>
        <p:spPr bwMode="auto">
          <a:xfrm>
            <a:off x="7727060" y="3302606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rgbClr val="1F497D"/>
                </a:solidFill>
              </a:rPr>
              <a:t>3-5</a:t>
            </a:r>
            <a:endParaRPr lang="ru-RU" altLang="ru-RU" sz="1400" b="1" dirty="0">
              <a:solidFill>
                <a:srgbClr val="1F497D"/>
              </a:solidFill>
            </a:endParaRPr>
          </a:p>
        </p:txBody>
      </p:sp>
      <p:sp>
        <p:nvSpPr>
          <p:cNvPr id="88" name="TextBox 41"/>
          <p:cNvSpPr txBox="1">
            <a:spLocks noChangeArrowheads="1"/>
          </p:cNvSpPr>
          <p:nvPr/>
        </p:nvSpPr>
        <p:spPr bwMode="auto">
          <a:xfrm>
            <a:off x="5285911" y="5279728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rgbClr val="1F497D"/>
                </a:solidFill>
              </a:rPr>
              <a:t>3-5</a:t>
            </a:r>
            <a:endParaRPr lang="ru-RU" altLang="ru-RU" sz="1400" b="1" dirty="0">
              <a:solidFill>
                <a:srgbClr val="1F497D"/>
              </a:solidFill>
            </a:endParaRPr>
          </a:p>
        </p:txBody>
      </p:sp>
      <p:sp>
        <p:nvSpPr>
          <p:cNvPr id="46" name="TextBox 48"/>
          <p:cNvSpPr txBox="1">
            <a:spLocks noChangeArrowheads="1"/>
          </p:cNvSpPr>
          <p:nvPr/>
        </p:nvSpPr>
        <p:spPr bwMode="auto">
          <a:xfrm>
            <a:off x="296760" y="1317992"/>
            <a:ext cx="2016125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charset="0"/>
              <a:buNone/>
            </a:pPr>
            <a:r>
              <a:rPr lang="ru-RU" alt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пособий, способствующих обучению детей организации подготовке к НОД</a:t>
            </a: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01503" y="3008642"/>
            <a:ext cx="196194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ворческая мотивация педагогов </a:t>
            </a:r>
            <a:r>
              <a:rPr lang="ru-RU" alt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мощью  обмена опытом, мастер-классы.</a:t>
            </a:r>
            <a:endParaRPr lang="ru-RU" sz="14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Box 48"/>
          <p:cNvSpPr txBox="1">
            <a:spLocks noChangeArrowheads="1"/>
          </p:cNvSpPr>
          <p:nvPr/>
        </p:nvSpPr>
        <p:spPr bwMode="auto">
          <a:xfrm>
            <a:off x="2734864" y="1373874"/>
            <a:ext cx="2250782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charset="0"/>
              <a:buNone/>
            </a:pPr>
            <a:r>
              <a:rPr lang="ru-RU" alt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зкая осведомленность педагогов о значении обучения детей временным отрезкам</a:t>
            </a: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41"/>
          <p:cNvSpPr txBox="1">
            <a:spLocks noChangeArrowheads="1"/>
          </p:cNvSpPr>
          <p:nvPr/>
        </p:nvSpPr>
        <p:spPr bwMode="auto">
          <a:xfrm>
            <a:off x="2685333" y="3116364"/>
            <a:ext cx="2024730" cy="1171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придают должной значимости обучению детей понятию временного отрезка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685333" y="4762076"/>
            <a:ext cx="196194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ворческая мотивация педагогов </a:t>
            </a:r>
            <a:r>
              <a:rPr lang="ru-RU" alt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мощью  обмен опытом, мастер-классы.</a:t>
            </a:r>
            <a:endParaRPr lang="ru-RU" sz="14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163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62988" y="6570606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6</a:t>
            </a:fld>
            <a:endParaRPr lang="ru-RU" altLang="ru-RU" b="1" dirty="0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7288387" y="930198"/>
            <a:ext cx="1811931" cy="427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200" b="1" dirty="0" smtClean="0">
                <a:solidFill>
                  <a:schemeClr val="tx2"/>
                </a:solidFill>
              </a:rPr>
              <a:t>Вклад в достижение цели, мин.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5571455" y="960219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179313" y="960219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2995427" y="960219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 smtClean="0">
                <a:solidFill>
                  <a:schemeClr val="tx2"/>
                </a:solidFill>
              </a:rPr>
              <a:t>Первопричина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201613" y="408720"/>
            <a:ext cx="8686800" cy="4210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Анализ проблем «5 почему?»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222552" y="1830021"/>
            <a:ext cx="1981271" cy="74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понимание временных отрезков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TextBox 41"/>
          <p:cNvSpPr txBox="1">
            <a:spLocks noChangeArrowheads="1"/>
          </p:cNvSpPr>
          <p:nvPr/>
        </p:nvSpPr>
        <p:spPr bwMode="auto">
          <a:xfrm>
            <a:off x="2527031" y="1584361"/>
            <a:ext cx="2304257" cy="1387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опыта  самостоятельной организации деятельности </a:t>
            </a: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 время дежурства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179312" y="1357693"/>
            <a:ext cx="8797867" cy="155612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2" name="Стрелка: вправо 3"/>
          <p:cNvSpPr/>
          <p:nvPr/>
        </p:nvSpPr>
        <p:spPr>
          <a:xfrm>
            <a:off x="2253351" y="1807439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7389757" y="198473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TextBox 41"/>
          <p:cNvSpPr txBox="1">
            <a:spLocks noChangeArrowheads="1"/>
          </p:cNvSpPr>
          <p:nvPr/>
        </p:nvSpPr>
        <p:spPr bwMode="auto">
          <a:xfrm>
            <a:off x="5154496" y="1746026"/>
            <a:ext cx="2208484" cy="74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знакомление, посредством наглядных материалов</a:t>
            </a:r>
            <a:endParaRPr lang="ru-RU" altLang="ru-RU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Стрелка: вправо 3"/>
          <p:cNvSpPr/>
          <p:nvPr/>
        </p:nvSpPr>
        <p:spPr>
          <a:xfrm>
            <a:off x="4849438" y="198473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6" name="TextBox 41"/>
          <p:cNvSpPr txBox="1">
            <a:spLocks noChangeArrowheads="1"/>
          </p:cNvSpPr>
          <p:nvPr/>
        </p:nvSpPr>
        <p:spPr bwMode="auto">
          <a:xfrm>
            <a:off x="179313" y="3369420"/>
            <a:ext cx="2110011" cy="74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ный эмоциональный фон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TextBox 41"/>
          <p:cNvSpPr txBox="1">
            <a:spLocks noChangeArrowheads="1"/>
          </p:cNvSpPr>
          <p:nvPr/>
        </p:nvSpPr>
        <p:spPr bwMode="auto">
          <a:xfrm>
            <a:off x="2623235" y="3369420"/>
            <a:ext cx="2246201" cy="1140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ена обстановки, которая вызывает негативные эмоции у детей</a:t>
            </a: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 algn="ctr" fontAlgn="base">
              <a:spcBef>
                <a:spcPct val="0"/>
              </a:spcBef>
              <a:spcAft>
                <a:spcPct val="0"/>
              </a:spcAft>
              <a:buAutoNum type="arabicPeriod"/>
            </a:pPr>
            <a:endParaRPr lang="ru-RU" alt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TextBox 41"/>
          <p:cNvSpPr txBox="1">
            <a:spLocks noChangeArrowheads="1"/>
          </p:cNvSpPr>
          <p:nvPr/>
        </p:nvSpPr>
        <p:spPr bwMode="auto">
          <a:xfrm>
            <a:off x="7855856" y="3665031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-3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01612" y="3252149"/>
            <a:ext cx="8775567" cy="1411483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2260590" y="3691236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Стрелка: вправо 3"/>
          <p:cNvSpPr/>
          <p:nvPr/>
        </p:nvSpPr>
        <p:spPr>
          <a:xfrm>
            <a:off x="7529265" y="3691236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2" name="TextBox 41"/>
          <p:cNvSpPr txBox="1">
            <a:spLocks noChangeArrowheads="1"/>
          </p:cNvSpPr>
          <p:nvPr/>
        </p:nvSpPr>
        <p:spPr bwMode="auto">
          <a:xfrm>
            <a:off x="5255229" y="3393672"/>
            <a:ext cx="2214834" cy="1140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нятие эмоционального напряжения предупреждением</a:t>
            </a:r>
            <a:r>
              <a:rPr lang="ru-RU" alt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есочные часы)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: вправо 3"/>
          <p:cNvSpPr/>
          <p:nvPr/>
        </p:nvSpPr>
        <p:spPr>
          <a:xfrm>
            <a:off x="5182758" y="3665031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1" name="TextBox 41"/>
          <p:cNvSpPr txBox="1">
            <a:spLocks noChangeArrowheads="1"/>
          </p:cNvSpPr>
          <p:nvPr/>
        </p:nvSpPr>
        <p:spPr bwMode="auto">
          <a:xfrm>
            <a:off x="7794227" y="1933575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-3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79312" y="5087610"/>
            <a:ext cx="8797868" cy="1411483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5" name="TextBox 41"/>
          <p:cNvSpPr txBox="1">
            <a:spLocks noChangeArrowheads="1"/>
          </p:cNvSpPr>
          <p:nvPr/>
        </p:nvSpPr>
        <p:spPr bwMode="auto">
          <a:xfrm>
            <a:off x="230652" y="5289986"/>
            <a:ext cx="2110011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желание соблюдать временные отрезки</a:t>
            </a: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Стрелка: вправо 3"/>
          <p:cNvSpPr/>
          <p:nvPr/>
        </p:nvSpPr>
        <p:spPr>
          <a:xfrm>
            <a:off x="2341262" y="5552687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7" name="TextBox 41"/>
          <p:cNvSpPr txBox="1">
            <a:spLocks noChangeArrowheads="1"/>
          </p:cNvSpPr>
          <p:nvPr/>
        </p:nvSpPr>
        <p:spPr bwMode="auto">
          <a:xfrm>
            <a:off x="2697303" y="5156938"/>
            <a:ext cx="2652484" cy="1140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хотят ничего делать, потому что хотят играть, не желают сменять обстановку, покидать зону комфорта</a:t>
            </a: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 algn="ctr" fontAlgn="base">
              <a:spcBef>
                <a:spcPct val="0"/>
              </a:spcBef>
              <a:spcAft>
                <a:spcPct val="0"/>
              </a:spcAft>
              <a:buAutoNum type="arabicPeriod"/>
            </a:pPr>
            <a:endParaRPr lang="ru-RU" alt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Стрелка: вправо 3"/>
          <p:cNvSpPr/>
          <p:nvPr/>
        </p:nvSpPr>
        <p:spPr>
          <a:xfrm>
            <a:off x="5262474" y="5432355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9" name="TextBox 41"/>
          <p:cNvSpPr txBox="1">
            <a:spLocks noChangeArrowheads="1"/>
          </p:cNvSpPr>
          <p:nvPr/>
        </p:nvSpPr>
        <p:spPr bwMode="auto">
          <a:xfrm>
            <a:off x="5389643" y="5236659"/>
            <a:ext cx="2214834" cy="74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имуляция действий детей наглядными, средствами и методами.</a:t>
            </a:r>
            <a:endParaRPr lang="ru-RU" alt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Box 41"/>
          <p:cNvSpPr txBox="1">
            <a:spLocks noChangeArrowheads="1"/>
          </p:cNvSpPr>
          <p:nvPr/>
        </p:nvSpPr>
        <p:spPr bwMode="auto">
          <a:xfrm>
            <a:off x="7914958" y="5487974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-3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1" name="Стрелка: вправо 3"/>
          <p:cNvSpPr/>
          <p:nvPr/>
        </p:nvSpPr>
        <p:spPr>
          <a:xfrm>
            <a:off x="7558947" y="5486750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2061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0968" y="67556"/>
            <a:ext cx="8370533" cy="127417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950" y="1031875"/>
            <a:ext cx="8686800" cy="336550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 smtClean="0"/>
              <a:t>Карта текущего состояния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32813" y="6527800"/>
            <a:ext cx="438150" cy="285750"/>
          </a:xfrm>
        </p:spPr>
        <p:txBody>
          <a:bodyPr/>
          <a:lstStyle/>
          <a:p>
            <a:pPr algn="ctr">
              <a:defRPr/>
            </a:pPr>
            <a:fld id="{C413DAE7-17BA-4981-A504-F12DEEB334FD}" type="slidenum">
              <a:rPr lang="ru-RU" sz="1300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7</a:t>
            </a:fld>
            <a:endParaRPr lang="ru-RU" sz="1300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41" name="Штриховая стрелка вправо 40"/>
          <p:cNvSpPr/>
          <p:nvPr/>
        </p:nvSpPr>
        <p:spPr>
          <a:xfrm>
            <a:off x="2342179" y="3833742"/>
            <a:ext cx="479425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85" name="Штриховая стрелка вправо 84"/>
          <p:cNvSpPr/>
          <p:nvPr/>
        </p:nvSpPr>
        <p:spPr>
          <a:xfrm>
            <a:off x="5077253" y="3834938"/>
            <a:ext cx="533133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87" name="Таблица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216985"/>
              </p:ext>
            </p:extLst>
          </p:nvPr>
        </p:nvGraphicFramePr>
        <p:xfrm>
          <a:off x="3020065" y="2650980"/>
          <a:ext cx="1716392" cy="31657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539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609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2316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воспитатель</a:t>
                      </a:r>
                      <a:endParaRPr lang="ru-RU" sz="1300" dirty="0"/>
                    </a:p>
                  </a:txBody>
                  <a:tcPr marL="91516" marR="91516" marT="43022" marB="4302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7009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менение песочных часов в организации дежурства, при проведении НОД (подготовка к НОД, во время НОД, во время уборки рабочего места).</a:t>
                      </a:r>
                    </a:p>
                  </a:txBody>
                  <a:tcPr marL="91516" marR="91516" marT="43022" marB="4302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247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5 мин.</a:t>
                      </a:r>
                    </a:p>
                  </a:txBody>
                  <a:tcPr marL="91516" marR="91516" marT="43022" marB="4302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1516" marR="91516" marT="43022" marB="43022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90" name="Штриховая стрелка вправо 89"/>
          <p:cNvSpPr/>
          <p:nvPr/>
        </p:nvSpPr>
        <p:spPr>
          <a:xfrm>
            <a:off x="8038104" y="3840791"/>
            <a:ext cx="494709" cy="301248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8549298"/>
              </p:ext>
            </p:extLst>
          </p:nvPr>
        </p:nvGraphicFramePr>
        <p:xfrm>
          <a:off x="482880" y="2650980"/>
          <a:ext cx="1764829" cy="3124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70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378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0345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воспитатель</a:t>
                      </a:r>
                      <a:endParaRPr lang="ru-RU" sz="1400" dirty="0"/>
                    </a:p>
                  </a:txBody>
                  <a:tcPr marL="91474" marR="91474" marT="45719" marB="4571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8374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менение различных внешних элементов привлечения внимания детей: (песочные часы).</a:t>
                      </a:r>
                    </a:p>
                  </a:txBody>
                  <a:tcPr marL="91474" marR="91474" marT="45719" marB="4571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7246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002060"/>
                          </a:solidFill>
                        </a:rPr>
                        <a:t>5 мин.</a:t>
                      </a:r>
                    </a:p>
                  </a:txBody>
                  <a:tcPr marL="91474" marR="91474" marT="45719" marB="457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marL="91474" marR="91474" marT="45719" marB="45719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892073"/>
              </p:ext>
            </p:extLst>
          </p:nvPr>
        </p:nvGraphicFramePr>
        <p:xfrm>
          <a:off x="6075776" y="2646218"/>
          <a:ext cx="1714511" cy="31705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30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14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33215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воспитатель</a:t>
                      </a:r>
                      <a:endParaRPr lang="ru-RU" sz="1400" dirty="0"/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3971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менение песочных часов режимных моментах в ДОУ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 подготовка к прогулке, подготовка ко сну).</a:t>
                      </a:r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7573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10 мин.</a:t>
                      </a:r>
                    </a:p>
                  </a:txBody>
                  <a:tcPr marL="91404" marR="91404" marT="45282" marB="4528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1404" marR="91404" marT="45282" marB="45282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" name="Скругленная прямоугольная выноска 2"/>
          <p:cNvSpPr/>
          <p:nvPr/>
        </p:nvSpPr>
        <p:spPr>
          <a:xfrm>
            <a:off x="1691680" y="1556792"/>
            <a:ext cx="4680520" cy="756664"/>
          </a:xfrm>
          <a:prstGeom prst="wedgeRoundRect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рганизация и подготовка к НОД </a:t>
            </a:r>
          </a:p>
          <a:p>
            <a:pPr algn="ctr"/>
            <a:r>
              <a:rPr lang="ru-RU" dirty="0" smtClean="0"/>
              <a:t>Экономия </a:t>
            </a:r>
            <a:r>
              <a:rPr lang="ru-RU" dirty="0" smtClean="0"/>
              <a:t>5-10 </a:t>
            </a:r>
            <a:r>
              <a:rPr lang="ru-RU" dirty="0" smtClean="0"/>
              <a:t>мин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937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8</a:t>
            </a:fld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2160" y="3531092"/>
            <a:ext cx="585267" cy="402371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1640" y="46366"/>
            <a:ext cx="8370533" cy="1274174"/>
          </a:xfrm>
          <a:prstGeom prst="rect">
            <a:avLst/>
          </a:prstGeom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1907704" y="1031875"/>
            <a:ext cx="5459290" cy="336550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 smtClean="0"/>
              <a:t>Карта текущего состояния</a:t>
            </a:r>
            <a:endParaRPr lang="ru-RU" sz="2400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76256" y="2818027"/>
            <a:ext cx="1684922" cy="2024449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7115578" y="3291642"/>
            <a:ext cx="1206277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6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я: 32 мин.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7966105"/>
              </p:ext>
            </p:extLst>
          </p:nvPr>
        </p:nvGraphicFramePr>
        <p:xfrm>
          <a:off x="1475656" y="2444079"/>
          <a:ext cx="1667081" cy="37238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16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54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2627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воспитанники</a:t>
                      </a:r>
                      <a:endParaRPr lang="ru-RU" sz="1400" dirty="0"/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4805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 применение песочных часов у детей, снизился негативный эмоциональный фон, могут визуализировать рассказать о последовательности действий при организации дежурства.</a:t>
                      </a:r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9507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5 мин.</a:t>
                      </a:r>
                    </a:p>
                  </a:txBody>
                  <a:tcPr marL="91404" marR="91404" marT="45282" marB="4528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4</a:t>
                      </a:r>
                    </a:p>
                  </a:txBody>
                  <a:tcPr marL="91404" marR="91404" marT="45282" marB="45282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20" name="Рисунок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576" y="3626018"/>
            <a:ext cx="506476" cy="408467"/>
          </a:xfrm>
          <a:prstGeom prst="rect">
            <a:avLst/>
          </a:prstGeom>
        </p:spPr>
      </p:pic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859507"/>
              </p:ext>
            </p:extLst>
          </p:nvPr>
        </p:nvGraphicFramePr>
        <p:xfrm>
          <a:off x="4211960" y="2459815"/>
          <a:ext cx="1714511" cy="3832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30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14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0228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воспитатель</a:t>
                      </a:r>
                      <a:endParaRPr lang="ru-RU" sz="1400" dirty="0"/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9389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меняют творческий подход к обучению детей по подготовке к НОД с применением песочных часов.</a:t>
                      </a:r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6116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7 мин.</a:t>
                      </a:r>
                    </a:p>
                  </a:txBody>
                  <a:tcPr marL="91404" marR="91404" marT="45282" marB="4528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5</a:t>
                      </a:r>
                    </a:p>
                  </a:txBody>
                  <a:tcPr marL="91404" marR="91404" marT="45282" marB="45282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22" name="Рисунок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19872" y="3626018"/>
            <a:ext cx="506476" cy="408467"/>
          </a:xfrm>
          <a:prstGeom prst="rect">
            <a:avLst/>
          </a:prstGeom>
        </p:spPr>
      </p:pic>
      <p:sp>
        <p:nvSpPr>
          <p:cNvPr id="23" name="Скругленная прямоугольная выноска 22"/>
          <p:cNvSpPr/>
          <p:nvPr/>
        </p:nvSpPr>
        <p:spPr>
          <a:xfrm>
            <a:off x="2435058" y="1556792"/>
            <a:ext cx="4680520" cy="756664"/>
          </a:xfrm>
          <a:prstGeom prst="wedgeRoundRect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рганизация и подготовка к НОД </a:t>
            </a:r>
          </a:p>
          <a:p>
            <a:pPr algn="ctr"/>
            <a:r>
              <a:rPr lang="ru-RU" dirty="0" smtClean="0"/>
              <a:t>Экономия 5-7 мин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168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4475" y="757014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313600" y="1255921"/>
            <a:ext cx="8636000" cy="546799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/>
          </p:cNvPr>
          <p:cNvSpPr txBox="1"/>
          <p:nvPr/>
        </p:nvSpPr>
        <p:spPr>
          <a:xfrm>
            <a:off x="313600" y="1272123"/>
            <a:ext cx="163512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Факторы успеха</a:t>
            </a:r>
          </a:p>
        </p:txBody>
      </p:sp>
      <p:sp>
        <p:nvSpPr>
          <p:cNvPr id="21" name="TextBox 20">
            <a:extLst/>
          </p:cNvPr>
          <p:cNvSpPr txBox="1"/>
          <p:nvPr/>
        </p:nvSpPr>
        <p:spPr>
          <a:xfrm>
            <a:off x="401595" y="4245691"/>
            <a:ext cx="2635961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или потери времени в процессе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нение различных внешних элементов привлечения внимания детей: визуализация времени (песочные </a:t>
            </a:r>
            <a:r>
              <a:rPr lang="ru-RU" sz="1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асы).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/>
          </p:cNvPr>
          <p:cNvSpPr txBox="1"/>
          <p:nvPr/>
        </p:nvSpPr>
        <p:spPr>
          <a:xfrm>
            <a:off x="3215378" y="4099498"/>
            <a:ext cx="239258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 smtClean="0"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овали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 smtClean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ементы визуализации последовательности действий при организации НОД</a:t>
            </a:r>
            <a:endParaRPr lang="ru-RU" alt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Box 23">
            <a:extLst/>
          </p:cNvPr>
          <p:cNvSpPr txBox="1"/>
          <p:nvPr/>
        </p:nvSpPr>
        <p:spPr>
          <a:xfrm>
            <a:off x="6201693" y="4269539"/>
            <a:ext cx="2525712" cy="7232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+mn-lt"/>
              </a:rPr>
              <a:t>Сформировалась команда единомышленников: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00" dirty="0" smtClean="0">
              <a:solidFill>
                <a:srgbClr val="FF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 dirty="0"/>
          </a:p>
        </p:txBody>
      </p:sp>
      <p:sp>
        <p:nvSpPr>
          <p:cNvPr id="3" name="Плюс 2"/>
          <p:cNvSpPr/>
          <p:nvPr/>
        </p:nvSpPr>
        <p:spPr>
          <a:xfrm>
            <a:off x="2390267" y="2456892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люс 19"/>
          <p:cNvSpPr/>
          <p:nvPr/>
        </p:nvSpPr>
        <p:spPr>
          <a:xfrm>
            <a:off x="5736471" y="2501920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/>
          </p:cNvPr>
          <p:cNvSpPr txBox="1"/>
          <p:nvPr/>
        </p:nvSpPr>
        <p:spPr>
          <a:xfrm>
            <a:off x="6268259" y="4317397"/>
            <a:ext cx="239258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 smtClean="0"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ворческий подход к обучению детей, обмен опытом.</a:t>
            </a:r>
            <a:endParaRPr lang="ru-RU" altLang="ru-RU" sz="1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06" y="1665005"/>
            <a:ext cx="1903445" cy="253792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6919" y="2204864"/>
            <a:ext cx="2909552" cy="93610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1843" y="1634224"/>
            <a:ext cx="2681067" cy="201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98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1</TotalTime>
  <Words>940</Words>
  <Application>Microsoft Office PowerPoint</Application>
  <PresentationFormat>Экран (4:3)</PresentationFormat>
  <Paragraphs>207</Paragraphs>
  <Slides>13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think-cell Slide</vt:lpstr>
      <vt:lpstr>Паспорт проекта  «ПРОЦЕСС ПОДГОТОВКИ ДЕТЕЙ СТАРШЕГО ДОШКОЛЬНОГО ВОЗРАСТА К ЗАНЯТИЯМ С ИСПОЛЬЗОВАНИЕМ ПЕСОЧНЫХ ЧАСОВ»</vt:lpstr>
      <vt:lpstr>Команда проекта </vt:lpstr>
      <vt:lpstr>Карта текущего состояния процесса «ПРОЦЕСС ПОДГОТОВКИ ДЕТЕЙ СТАРШЕГО ДОШКОЛЬНОГО ВОЗРАСТА К ЗАНЯТИЯМ С ИСПОЛЬЗОВАНИЕМ ПЕСОЧНЫХ ЧАСОВ»</vt:lpstr>
      <vt:lpstr>Пирамида проблем</vt:lpstr>
      <vt:lpstr>Презентация PowerPoint</vt:lpstr>
      <vt:lpstr>Презентация PowerPoint</vt:lpstr>
      <vt:lpstr>Карта текущего состояния</vt:lpstr>
      <vt:lpstr>Карта текущего состояния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Достигнутые результаты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User</cp:lastModifiedBy>
  <cp:revision>45</cp:revision>
  <cp:lastPrinted>2019-04-25T09:14:46Z</cp:lastPrinted>
  <dcterms:created xsi:type="dcterms:W3CDTF">2018-08-20T14:01:12Z</dcterms:created>
  <dcterms:modified xsi:type="dcterms:W3CDTF">2021-06-10T14:33:46Z</dcterms:modified>
</cp:coreProperties>
</file>